
<file path=[Content_Types].xml><?xml version="1.0" encoding="utf-8"?>
<Types xmlns="http://schemas.openxmlformats.org/package/2006/content-types">
  <Default Extension="bin" ContentType="application/vnd.openxmlformats-officedocument.oleObject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7"/>
  </p:notesMasterIdLst>
  <p:sldIdLst>
    <p:sldId id="256" r:id="rId2"/>
    <p:sldId id="257" r:id="rId3"/>
    <p:sldId id="258" r:id="rId4"/>
    <p:sldId id="260" r:id="rId5"/>
    <p:sldId id="259" r:id="rId6"/>
  </p:sldIdLst>
  <p:sldSz cx="13431838" cy="7562850"/>
  <p:notesSz cx="7562850" cy="134318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1" roundtripDataSignature="AMtx7miBpIUvx2g3NtWmiW3rFG7GQCrw5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icia Duran" initials="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160"/>
        <p:guide pos="288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customschemas.google.com/relationships/presentationmetadata" Target="metadata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4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24-12-17T11:46:47.063" idx="1">
    <p:pos x="1058" y="1591"/>
    <p:text>Title: ALL CAPS</p:text>
    <p:extLst>
      <p:ext uri="{C676402C-5697-4E1C-873F-D02D1690AC5C}">
        <p15:threadingInfo xmlns:p15="http://schemas.microsoft.com/office/powerpoint/2012/main" timeZoneBias="0"/>
      </p:ext>
      <p:ext uri="http://customooxmlschemas.google.com/">
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commentPostId="AAABad5TIFM"/>
      </p:ext>
    </p:extLst>
  </p:cm>
  <p:cm authorId="0" dt="2024-12-17T11:47:29.280" idx="3">
    <p:pos x="1058" y="2434"/>
    <p:text>Trends name: First Letter of Each Word in Caps</p:text>
    <p:extLst>
      <p:ext uri="{C676402C-5697-4E1C-873F-D02D1690AC5C}">
        <p15:threadingInfo xmlns:p15="http://schemas.microsoft.com/office/powerpoint/2012/main" timeZoneBias="0"/>
      </p:ext>
      <p:ext uri="http://customooxmlschemas.google.com/">
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commentPostId="AAABad5TIFQ"/>
      </p:ext>
    </p:extLst>
  </p:cm>
  <p:cm authorId="0" dt="2024-12-17T11:49:14.829" idx="2">
    <p:pos x="1058" y="4156"/>
    <p:text>Names: DO NOT write all in capital letters</p:text>
    <p:extLst>
      <p:ext uri="{C676402C-5697-4E1C-873F-D02D1690AC5C}">
        <p15:threadingInfo xmlns:p15="http://schemas.microsoft.com/office/powerpoint/2012/main" timeZoneBias="0"/>
      </p:ext>
      <p:ext uri="http://customooxmlschemas.google.com/">
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commentPostId="AAABad5TIFU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24-12-17T11:37:55.171" idx="5">
    <p:pos x="688" y="1107"/>
    <p:text>Keep the layout and alignment of icons and text!</p:text>
    <p:extLst>
      <p:ext uri="{C676402C-5697-4E1C-873F-D02D1690AC5C}">
        <p15:threadingInfo xmlns:p15="http://schemas.microsoft.com/office/powerpoint/2012/main" timeZoneBias="0"/>
      </p:ext>
      <p:ext uri="http://customooxmlschemas.google.com/">
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commentPostId="AAABad5TIFE"/>
      </p:ext>
    </p:extLst>
  </p:cm>
  <p:cm authorId="0" dt="2024-12-17T11:38:23.190" idx="4">
    <p:pos x="4594" y="0"/>
    <p:text>Keep the size &amp; format of pictures</p:text>
    <p:extLst>
      <p:ext uri="{C676402C-5697-4E1C-873F-D02D1690AC5C}">
        <p15:threadingInfo xmlns:p15="http://schemas.microsoft.com/office/powerpoint/2012/main" timeZoneBias="0"/>
      </p:ext>
      <p:ext uri="http://customooxmlschemas.google.com/">
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commentPostId="AAABad5TIFI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45658" cy="493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50442" y="0"/>
            <a:ext cx="2945658" cy="493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2713" y="741362"/>
            <a:ext cx="6572249" cy="370204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378824"/>
            <a:ext cx="2945658" cy="493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50442" y="9378824"/>
            <a:ext cx="2945658" cy="493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41363"/>
            <a:ext cx="6572250" cy="3702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9" name="Google Shape;139;p1:notes"/>
          <p:cNvSpPr txBox="1">
            <a:spLocks noGrp="1"/>
          </p:cNvSpPr>
          <p:nvPr>
            <p:ph type="body" idx="1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</a:pPr>
            <a:endParaRPr/>
          </a:p>
        </p:txBody>
      </p:sp>
      <p:sp>
        <p:nvSpPr>
          <p:cNvPr id="140" name="Google Shape;140;p1:notes"/>
          <p:cNvSpPr txBox="1">
            <a:spLocks noGrp="1"/>
          </p:cNvSpPr>
          <p:nvPr>
            <p:ph type="sldNum" idx="12"/>
          </p:nvPr>
        </p:nvSpPr>
        <p:spPr>
          <a:xfrm>
            <a:off x="3850442" y="9378824"/>
            <a:ext cx="2945658" cy="493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Google Shape;1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41363"/>
            <a:ext cx="6572250" cy="3702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9" name="Google Shape;149;p2:notes"/>
          <p:cNvSpPr txBox="1">
            <a:spLocks noGrp="1"/>
          </p:cNvSpPr>
          <p:nvPr>
            <p:ph type="body" idx="1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Picture without watermarks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Readable slides, bullets -&gt; don’t kill them with information in the slide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Say a lot on the go, slides are only supporting your statement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12 min per team + 5 min Q&amp;A -&gt; stay on time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Everyone should talk &amp; present equally as best as possible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Be punctual &amp; prepared, PP joins remotely 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</a:pPr>
            <a:endParaRPr/>
          </a:p>
        </p:txBody>
      </p:sp>
      <p:sp>
        <p:nvSpPr>
          <p:cNvPr id="150" name="Google Shape;150;p2:notes"/>
          <p:cNvSpPr txBox="1">
            <a:spLocks noGrp="1"/>
          </p:cNvSpPr>
          <p:nvPr>
            <p:ph type="sldNum" idx="12"/>
          </p:nvPr>
        </p:nvSpPr>
        <p:spPr>
          <a:xfrm>
            <a:off x="3850442" y="9378824"/>
            <a:ext cx="2945658" cy="493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g31ff23c518a_0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41363"/>
            <a:ext cx="6572250" cy="3702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6" name="Google Shape;166;g31ff23c518a_0_128:notes"/>
          <p:cNvSpPr txBox="1">
            <a:spLocks noGrp="1"/>
          </p:cNvSpPr>
          <p:nvPr>
            <p:ph type="body" idx="1"/>
          </p:nvPr>
        </p:nvSpPr>
        <p:spPr>
          <a:xfrm>
            <a:off x="679768" y="4690269"/>
            <a:ext cx="5438100" cy="444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Picture without watermarks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Readable slides, bullets -&gt; don’t kill them with information in the slide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Say a lot on the go, slides are only supporting your statement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12 min per team + 5 min Q&amp;A -&gt; stay on time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Everyone should talk &amp; present equally as best as possible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Be punctual &amp; prepared, PP joins remotely 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</a:pPr>
            <a:endParaRPr/>
          </a:p>
        </p:txBody>
      </p:sp>
      <p:sp>
        <p:nvSpPr>
          <p:cNvPr id="167" name="Google Shape;167;g31ff23c518a_0_128:notes"/>
          <p:cNvSpPr txBox="1">
            <a:spLocks noGrp="1"/>
          </p:cNvSpPr>
          <p:nvPr>
            <p:ph type="sldNum" idx="12"/>
          </p:nvPr>
        </p:nvSpPr>
        <p:spPr>
          <a:xfrm>
            <a:off x="3850442" y="9378824"/>
            <a:ext cx="2945700" cy="49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g31ff23c518a_0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41363"/>
            <a:ext cx="6572250" cy="3702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6" name="Google Shape;166;g31ff23c518a_0_128:notes"/>
          <p:cNvSpPr txBox="1">
            <a:spLocks noGrp="1"/>
          </p:cNvSpPr>
          <p:nvPr>
            <p:ph type="body" idx="1"/>
          </p:nvPr>
        </p:nvSpPr>
        <p:spPr>
          <a:xfrm>
            <a:off x="679768" y="4690269"/>
            <a:ext cx="5438100" cy="444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Picture without watermarks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Readable slides, bullets -&gt; don’t kill them with information in the slide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Say a lot on the go, slides are only supporting your statement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12 min per team + 5 min Q&amp;A -&gt; stay on time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Everyone should talk &amp; present equally as best as possible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AutoNum type="arabicPeriod"/>
            </a:pPr>
            <a:r>
              <a:rPr lang="en-US"/>
              <a:t>Be punctual &amp; prepared, PP joins remotely 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</a:pPr>
            <a:endParaRPr/>
          </a:p>
        </p:txBody>
      </p:sp>
      <p:sp>
        <p:nvSpPr>
          <p:cNvPr id="167" name="Google Shape;167;g31ff23c518a_0_128:notes"/>
          <p:cNvSpPr txBox="1">
            <a:spLocks noGrp="1"/>
          </p:cNvSpPr>
          <p:nvPr>
            <p:ph type="sldNum" idx="12"/>
          </p:nvPr>
        </p:nvSpPr>
        <p:spPr>
          <a:xfrm>
            <a:off x="3850442" y="9378824"/>
            <a:ext cx="2945700" cy="49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41363"/>
            <a:ext cx="6572250" cy="37020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3" name="Google Shape;183;p3:notes"/>
          <p:cNvSpPr txBox="1">
            <a:spLocks noGrp="1"/>
          </p:cNvSpPr>
          <p:nvPr>
            <p:ph type="body" idx="1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Calibri"/>
              <a:buNone/>
            </a:pPr>
            <a:endParaRPr/>
          </a:p>
        </p:txBody>
      </p:sp>
      <p:sp>
        <p:nvSpPr>
          <p:cNvPr id="184" name="Google Shape;184;p3:notes"/>
          <p:cNvSpPr txBox="1">
            <a:spLocks noGrp="1"/>
          </p:cNvSpPr>
          <p:nvPr>
            <p:ph type="sldNum" idx="12"/>
          </p:nvPr>
        </p:nvSpPr>
        <p:spPr>
          <a:xfrm>
            <a:off x="3850442" y="9378824"/>
            <a:ext cx="2945658" cy="493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seite">
  <p:cSld name="Titelseite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g31ff23c518a_0_5" descr="A low angle view of a building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1457" t="11472" b="4781"/>
          <a:stretch/>
        </p:blipFill>
        <p:spPr>
          <a:xfrm>
            <a:off x="0" y="-47286"/>
            <a:ext cx="13431838" cy="761013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Google Shape;16;g31ff23c518a_0_5" descr="Dunkle_Flaeche-02.png"/>
          <p:cNvPicPr preferRelativeResize="0"/>
          <p:nvPr/>
        </p:nvPicPr>
        <p:blipFill rotWithShape="1">
          <a:blip r:embed="rId3">
            <a:alphaModFix/>
          </a:blip>
          <a:srcRect r="728"/>
          <a:stretch/>
        </p:blipFill>
        <p:spPr>
          <a:xfrm>
            <a:off x="7939" y="-47286"/>
            <a:ext cx="13431838" cy="7610135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g31ff23c518a_0_5"/>
          <p:cNvSpPr txBox="1">
            <a:spLocks noGrp="1"/>
          </p:cNvSpPr>
          <p:nvPr>
            <p:ph type="title"/>
          </p:nvPr>
        </p:nvSpPr>
        <p:spPr>
          <a:xfrm>
            <a:off x="1603012" y="2997762"/>
            <a:ext cx="10452300" cy="9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None/>
              <a:defRPr sz="6600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g31ff23c518a_0_5"/>
          <p:cNvSpPr txBox="1">
            <a:spLocks noGrp="1"/>
          </p:cNvSpPr>
          <p:nvPr>
            <p:ph type="body" idx="1"/>
          </p:nvPr>
        </p:nvSpPr>
        <p:spPr>
          <a:xfrm>
            <a:off x="1603012" y="4253229"/>
            <a:ext cx="10526700" cy="4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SzPts val="1800"/>
              <a:buNone/>
              <a:defRPr sz="1800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lvl="1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–"/>
              <a:defRPr sz="180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lvl="2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•"/>
              <a:defRPr sz="180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lvl="3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–"/>
              <a:defRPr sz="180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lvl="4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»"/>
              <a:defRPr sz="180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lvl="5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" name="Google Shape;19;g31ff23c518a_0_5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venir"/>
              <a:buNone/>
              <a:defRPr sz="14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venir"/>
              <a:buNone/>
              <a:defRPr sz="14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venir"/>
              <a:buNone/>
              <a:defRPr sz="14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venir"/>
              <a:buNone/>
              <a:defRPr sz="14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venir"/>
              <a:buNone/>
              <a:defRPr sz="14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venir"/>
              <a:buNone/>
              <a:defRPr sz="14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venir"/>
              <a:buNone/>
              <a:defRPr sz="14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venir"/>
              <a:buNone/>
              <a:defRPr sz="14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venir"/>
              <a:buNone/>
              <a:defRPr sz="14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  <p:sp>
        <p:nvSpPr>
          <p:cNvPr id="20" name="Google Shape;20;g31ff23c518a_0_5"/>
          <p:cNvSpPr/>
          <p:nvPr/>
        </p:nvSpPr>
        <p:spPr>
          <a:xfrm>
            <a:off x="0" y="-47285"/>
            <a:ext cx="13431837" cy="7601418"/>
          </a:xfrm>
          <a:custGeom>
            <a:avLst/>
            <a:gdLst/>
            <a:ahLst/>
            <a:cxnLst/>
            <a:rect l="l" t="t" r="r" b="b"/>
            <a:pathLst>
              <a:path w="13431837" h="7563600" extrusionOk="0">
                <a:moveTo>
                  <a:pt x="0" y="0"/>
                </a:moveTo>
                <a:lnTo>
                  <a:pt x="180000" y="0"/>
                </a:lnTo>
                <a:lnTo>
                  <a:pt x="180000" y="375"/>
                </a:lnTo>
                <a:lnTo>
                  <a:pt x="13251837" y="375"/>
                </a:lnTo>
                <a:lnTo>
                  <a:pt x="13251837" y="375"/>
                </a:lnTo>
                <a:lnTo>
                  <a:pt x="13431837" y="375"/>
                </a:lnTo>
                <a:lnTo>
                  <a:pt x="13431837" y="2016375"/>
                </a:lnTo>
                <a:lnTo>
                  <a:pt x="13251837" y="2016375"/>
                </a:lnTo>
                <a:lnTo>
                  <a:pt x="13251837" y="183975"/>
                </a:lnTo>
                <a:lnTo>
                  <a:pt x="180000" y="183975"/>
                </a:lnTo>
                <a:lnTo>
                  <a:pt x="180000" y="7379625"/>
                </a:lnTo>
                <a:lnTo>
                  <a:pt x="13251837" y="7379625"/>
                </a:lnTo>
                <a:lnTo>
                  <a:pt x="13251837" y="5547225"/>
                </a:lnTo>
                <a:lnTo>
                  <a:pt x="13431837" y="5547225"/>
                </a:lnTo>
                <a:lnTo>
                  <a:pt x="13431837" y="7563225"/>
                </a:lnTo>
                <a:lnTo>
                  <a:pt x="13431599" y="7563225"/>
                </a:lnTo>
                <a:lnTo>
                  <a:pt x="13251837" y="7563225"/>
                </a:lnTo>
                <a:lnTo>
                  <a:pt x="180000" y="7563225"/>
                </a:lnTo>
                <a:lnTo>
                  <a:pt x="180000" y="7563600"/>
                </a:lnTo>
                <a:lnTo>
                  <a:pt x="0" y="7563600"/>
                </a:lnTo>
                <a:lnTo>
                  <a:pt x="0" y="7563225"/>
                </a:lnTo>
                <a:lnTo>
                  <a:pt x="0" y="7563225"/>
                </a:lnTo>
                <a:lnTo>
                  <a:pt x="0" y="7379625"/>
                </a:lnTo>
                <a:lnTo>
                  <a:pt x="0" y="7379625"/>
                </a:lnTo>
                <a:lnTo>
                  <a:pt x="0" y="183975"/>
                </a:lnTo>
                <a:lnTo>
                  <a:pt x="0" y="375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1" name="Google Shape;21;g31ff23c518a_0_5" descr="A black and white logo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51927" y="694616"/>
            <a:ext cx="951085" cy="7056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_Übersicht4">
  <p:cSld name="Text_Übersicht4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g31ff23c518a_0_85"/>
          <p:cNvSpPr txBox="1">
            <a:spLocks noGrp="1"/>
          </p:cNvSpPr>
          <p:nvPr>
            <p:ph type="body" idx="1"/>
          </p:nvPr>
        </p:nvSpPr>
        <p:spPr>
          <a:xfrm>
            <a:off x="1666875" y="3184156"/>
            <a:ext cx="54000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" name="Google Shape;96;g31ff23c518a_0_85"/>
          <p:cNvSpPr txBox="1">
            <a:spLocks noGrp="1"/>
          </p:cNvSpPr>
          <p:nvPr>
            <p:ph type="body" idx="2"/>
          </p:nvPr>
        </p:nvSpPr>
        <p:spPr>
          <a:xfrm>
            <a:off x="1666875" y="4870067"/>
            <a:ext cx="54000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7" name="Google Shape;97;g31ff23c518a_0_85"/>
          <p:cNvSpPr/>
          <p:nvPr/>
        </p:nvSpPr>
        <p:spPr>
          <a:xfrm flipH="1">
            <a:off x="-3" y="2166150"/>
            <a:ext cx="180000" cy="32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endParaRPr sz="2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" name="Google Shape;98;g31ff23c518a_0_85"/>
          <p:cNvSpPr txBox="1">
            <a:spLocks noGrp="1"/>
          </p:cNvSpPr>
          <p:nvPr>
            <p:ph type="body" idx="3"/>
          </p:nvPr>
        </p:nvSpPr>
        <p:spPr>
          <a:xfrm>
            <a:off x="7564602" y="3184156"/>
            <a:ext cx="53862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" name="Google Shape;99;g31ff23c518a_0_85"/>
          <p:cNvSpPr txBox="1">
            <a:spLocks noGrp="1"/>
          </p:cNvSpPr>
          <p:nvPr>
            <p:ph type="body" idx="4"/>
          </p:nvPr>
        </p:nvSpPr>
        <p:spPr>
          <a:xfrm>
            <a:off x="7564602" y="4870067"/>
            <a:ext cx="53862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0" name="Google Shape;100;g31ff23c518a_0_85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  <p:sp>
        <p:nvSpPr>
          <p:cNvPr id="101" name="Google Shape;101;g31ff23c518a_0_85"/>
          <p:cNvSpPr txBox="1">
            <a:spLocks noGrp="1"/>
          </p:cNvSpPr>
          <p:nvPr>
            <p:ph type="body" idx="5"/>
          </p:nvPr>
        </p:nvSpPr>
        <p:spPr>
          <a:xfrm>
            <a:off x="684000" y="2017546"/>
            <a:ext cx="12273900" cy="7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Avenir"/>
              <a:buNone/>
              <a:defRPr sz="6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609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Char char="–"/>
              <a:defRPr sz="6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609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Char char="•"/>
              <a:defRPr sz="6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609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Char char="–"/>
              <a:defRPr sz="6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609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Char char="»"/>
              <a:defRPr sz="6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_1Bild">
  <p:cSld name="Text_1Bild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g31ff23c518a_0_93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  <p:sp>
        <p:nvSpPr>
          <p:cNvPr id="104" name="Google Shape;104;g31ff23c518a_0_93"/>
          <p:cNvSpPr txBox="1">
            <a:spLocks noGrp="1"/>
          </p:cNvSpPr>
          <p:nvPr>
            <p:ph type="body" idx="1"/>
          </p:nvPr>
        </p:nvSpPr>
        <p:spPr>
          <a:xfrm>
            <a:off x="1683386" y="2178383"/>
            <a:ext cx="35361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" name="Google Shape;105;g31ff23c518a_0_93"/>
          <p:cNvSpPr/>
          <p:nvPr/>
        </p:nvSpPr>
        <p:spPr>
          <a:xfrm flipH="1">
            <a:off x="-3" y="2166150"/>
            <a:ext cx="180000" cy="32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endParaRPr sz="2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Google Shape;106;g31ff23c518a_0_93"/>
          <p:cNvSpPr txBox="1">
            <a:spLocks noGrp="1"/>
          </p:cNvSpPr>
          <p:nvPr>
            <p:ph type="body" idx="2"/>
          </p:nvPr>
        </p:nvSpPr>
        <p:spPr>
          <a:xfrm>
            <a:off x="1683386" y="4125078"/>
            <a:ext cx="35361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7" name="Google Shape;107;g31ff23c518a_0_93"/>
          <p:cNvSpPr>
            <a:spLocks noGrp="1"/>
          </p:cNvSpPr>
          <p:nvPr>
            <p:ph type="pic" idx="3"/>
          </p:nvPr>
        </p:nvSpPr>
        <p:spPr>
          <a:xfrm>
            <a:off x="5410487" y="2178383"/>
            <a:ext cx="3536100" cy="1872900"/>
          </a:xfrm>
          <a:prstGeom prst="rect">
            <a:avLst/>
          </a:prstGeom>
          <a:noFill/>
          <a:ln>
            <a:noFill/>
          </a:ln>
        </p:spPr>
      </p:sp>
      <p:sp>
        <p:nvSpPr>
          <p:cNvPr id="108" name="Google Shape;108;g31ff23c518a_0_93"/>
          <p:cNvSpPr txBox="1">
            <a:spLocks noGrp="1"/>
          </p:cNvSpPr>
          <p:nvPr>
            <p:ph type="body" idx="4"/>
          </p:nvPr>
        </p:nvSpPr>
        <p:spPr>
          <a:xfrm>
            <a:off x="9130979" y="2178383"/>
            <a:ext cx="16173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9" name="Google Shape;109;g31ff23c518a_0_93"/>
          <p:cNvSpPr txBox="1">
            <a:spLocks noGrp="1"/>
          </p:cNvSpPr>
          <p:nvPr>
            <p:ph type="body" idx="5"/>
          </p:nvPr>
        </p:nvSpPr>
        <p:spPr>
          <a:xfrm>
            <a:off x="9130980" y="4125078"/>
            <a:ext cx="35361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0" name="Google Shape;110;g31ff23c518a_0_93"/>
          <p:cNvSpPr txBox="1">
            <a:spLocks noGrp="1"/>
          </p:cNvSpPr>
          <p:nvPr>
            <p:ph type="body" idx="6"/>
          </p:nvPr>
        </p:nvSpPr>
        <p:spPr>
          <a:xfrm>
            <a:off x="5410487" y="4125078"/>
            <a:ext cx="35361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" name="Google Shape;111;g31ff23c518a_0_93"/>
          <p:cNvSpPr txBox="1">
            <a:spLocks noGrp="1"/>
          </p:cNvSpPr>
          <p:nvPr>
            <p:ph type="body" idx="7"/>
          </p:nvPr>
        </p:nvSpPr>
        <p:spPr>
          <a:xfrm>
            <a:off x="9130979" y="2614906"/>
            <a:ext cx="16173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" name="Google Shape;112;g31ff23c518a_0_93"/>
          <p:cNvSpPr txBox="1">
            <a:spLocks noGrp="1"/>
          </p:cNvSpPr>
          <p:nvPr>
            <p:ph type="body" idx="8"/>
          </p:nvPr>
        </p:nvSpPr>
        <p:spPr>
          <a:xfrm>
            <a:off x="9130979" y="3054516"/>
            <a:ext cx="16173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" name="Google Shape;113;g31ff23c518a_0_93"/>
          <p:cNvSpPr txBox="1">
            <a:spLocks noGrp="1"/>
          </p:cNvSpPr>
          <p:nvPr>
            <p:ph type="body" idx="9"/>
          </p:nvPr>
        </p:nvSpPr>
        <p:spPr>
          <a:xfrm>
            <a:off x="9130979" y="3491039"/>
            <a:ext cx="16173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4" name="Google Shape;114;g31ff23c518a_0_93"/>
          <p:cNvSpPr txBox="1">
            <a:spLocks noGrp="1"/>
          </p:cNvSpPr>
          <p:nvPr>
            <p:ph type="body" idx="13"/>
          </p:nvPr>
        </p:nvSpPr>
        <p:spPr>
          <a:xfrm>
            <a:off x="9130980" y="5374189"/>
            <a:ext cx="35361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5" name="Google Shape;115;g31ff23c518a_0_93"/>
          <p:cNvSpPr txBox="1">
            <a:spLocks noGrp="1"/>
          </p:cNvSpPr>
          <p:nvPr>
            <p:ph type="body" idx="14"/>
          </p:nvPr>
        </p:nvSpPr>
        <p:spPr>
          <a:xfrm>
            <a:off x="1008000" y="814820"/>
            <a:ext cx="5400000" cy="44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venir"/>
              <a:buNone/>
              <a:defRPr sz="2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6" name="Google Shape;116;g31ff23c518a_0_93"/>
          <p:cNvSpPr txBox="1">
            <a:spLocks noGrp="1"/>
          </p:cNvSpPr>
          <p:nvPr>
            <p:ph type="title"/>
          </p:nvPr>
        </p:nvSpPr>
        <p:spPr>
          <a:xfrm>
            <a:off x="1006764" y="385641"/>
            <a:ext cx="5400000" cy="3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17" name="Google Shape;117;g31ff23c518a_0_93"/>
          <p:cNvSpPr txBox="1">
            <a:spLocks noGrp="1"/>
          </p:cNvSpPr>
          <p:nvPr>
            <p:ph type="body" idx="15"/>
          </p:nvPr>
        </p:nvSpPr>
        <p:spPr>
          <a:xfrm>
            <a:off x="5407182" y="4549364"/>
            <a:ext cx="3536100" cy="199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8" name="Google Shape;118;g31ff23c518a_0_93"/>
          <p:cNvSpPr txBox="1">
            <a:spLocks noGrp="1"/>
          </p:cNvSpPr>
          <p:nvPr>
            <p:ph type="body" idx="16"/>
          </p:nvPr>
        </p:nvSpPr>
        <p:spPr>
          <a:xfrm>
            <a:off x="9130980" y="4549364"/>
            <a:ext cx="3536100" cy="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9" name="Google Shape;119;g31ff23c518a_0_93"/>
          <p:cNvSpPr txBox="1">
            <a:spLocks noGrp="1"/>
          </p:cNvSpPr>
          <p:nvPr>
            <p:ph type="body" idx="17"/>
          </p:nvPr>
        </p:nvSpPr>
        <p:spPr>
          <a:xfrm>
            <a:off x="9130980" y="5825230"/>
            <a:ext cx="3536100" cy="7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0" name="Google Shape;120;g31ff23c518a_0_93"/>
          <p:cNvSpPr txBox="1">
            <a:spLocks noGrp="1"/>
          </p:cNvSpPr>
          <p:nvPr>
            <p:ph type="body" idx="18"/>
          </p:nvPr>
        </p:nvSpPr>
        <p:spPr>
          <a:xfrm>
            <a:off x="10892383" y="2614762"/>
            <a:ext cx="1774500" cy="35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1" name="Google Shape;121;g31ff23c518a_0_93"/>
          <p:cNvSpPr txBox="1">
            <a:spLocks noGrp="1"/>
          </p:cNvSpPr>
          <p:nvPr>
            <p:ph type="body" idx="19"/>
          </p:nvPr>
        </p:nvSpPr>
        <p:spPr>
          <a:xfrm>
            <a:off x="10892383" y="3047240"/>
            <a:ext cx="1774500" cy="35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2" name="Google Shape;122;g31ff23c518a_0_93"/>
          <p:cNvSpPr txBox="1">
            <a:spLocks noGrp="1"/>
          </p:cNvSpPr>
          <p:nvPr>
            <p:ph type="body" idx="20"/>
          </p:nvPr>
        </p:nvSpPr>
        <p:spPr>
          <a:xfrm>
            <a:off x="10892383" y="3484198"/>
            <a:ext cx="1774500" cy="35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3" name="Google Shape;123;g31ff23c518a_0_93"/>
          <p:cNvSpPr txBox="1">
            <a:spLocks noGrp="1"/>
          </p:cNvSpPr>
          <p:nvPr>
            <p:ph type="body" idx="21"/>
          </p:nvPr>
        </p:nvSpPr>
        <p:spPr>
          <a:xfrm>
            <a:off x="10892383" y="2166150"/>
            <a:ext cx="1774500" cy="35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4" name="Google Shape;124;g31ff23c518a_0_93"/>
          <p:cNvSpPr txBox="1">
            <a:spLocks noGrp="1"/>
          </p:cNvSpPr>
          <p:nvPr>
            <p:ph type="body" idx="22"/>
          </p:nvPr>
        </p:nvSpPr>
        <p:spPr>
          <a:xfrm>
            <a:off x="1683386" y="2602669"/>
            <a:ext cx="3536100" cy="144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5" name="Google Shape;125;g31ff23c518a_0_93"/>
          <p:cNvSpPr txBox="1">
            <a:spLocks noGrp="1"/>
          </p:cNvSpPr>
          <p:nvPr>
            <p:ph type="body" idx="23"/>
          </p:nvPr>
        </p:nvSpPr>
        <p:spPr>
          <a:xfrm>
            <a:off x="1683386" y="4549364"/>
            <a:ext cx="3513900" cy="199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Arial"/>
              <a:buNone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acts">
  <p:cSld name="Facts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g31ff23c518a_0_117"/>
          <p:cNvSpPr txBox="1">
            <a:spLocks noGrp="1"/>
          </p:cNvSpPr>
          <p:nvPr>
            <p:ph type="body" idx="1"/>
          </p:nvPr>
        </p:nvSpPr>
        <p:spPr>
          <a:xfrm>
            <a:off x="1666874" y="3258852"/>
            <a:ext cx="11280300" cy="69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28600" algn="l">
              <a:lnSpc>
                <a:spcPct val="50000"/>
              </a:lnSpc>
              <a:spcBef>
                <a:spcPts val="1130"/>
              </a:spcBef>
              <a:spcAft>
                <a:spcPts val="0"/>
              </a:spcAft>
              <a:buSzPts val="1800"/>
              <a:buNone/>
              <a:defRPr sz="1800" cap="none">
                <a:solidFill>
                  <a:srgbClr val="727576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lvl="1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g31ff23c518a_0_117"/>
          <p:cNvSpPr txBox="1">
            <a:spLocks noGrp="1"/>
          </p:cNvSpPr>
          <p:nvPr>
            <p:ph type="body" idx="2"/>
          </p:nvPr>
        </p:nvSpPr>
        <p:spPr>
          <a:xfrm>
            <a:off x="1666874" y="4332502"/>
            <a:ext cx="2241600" cy="9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SzPts val="6600"/>
              <a:buNone/>
              <a:defRPr sz="1400" b="1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lvl="1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g31ff23c518a_0_117"/>
          <p:cNvSpPr txBox="1">
            <a:spLocks noGrp="1"/>
          </p:cNvSpPr>
          <p:nvPr>
            <p:ph type="body" idx="3"/>
          </p:nvPr>
        </p:nvSpPr>
        <p:spPr>
          <a:xfrm>
            <a:off x="5610914" y="4332502"/>
            <a:ext cx="2241600" cy="9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SzPts val="6600"/>
              <a:buNone/>
              <a:defRPr sz="1400" b="1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lvl="1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g31ff23c518a_0_117"/>
          <p:cNvSpPr txBox="1">
            <a:spLocks noGrp="1"/>
          </p:cNvSpPr>
          <p:nvPr>
            <p:ph type="body" idx="4"/>
          </p:nvPr>
        </p:nvSpPr>
        <p:spPr>
          <a:xfrm>
            <a:off x="9645623" y="4332502"/>
            <a:ext cx="2241600" cy="9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SzPts val="6600"/>
              <a:buNone/>
              <a:defRPr sz="1400" b="1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lvl="1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g31ff23c518a_0_117"/>
          <p:cNvSpPr txBox="1">
            <a:spLocks noGrp="1"/>
          </p:cNvSpPr>
          <p:nvPr>
            <p:ph type="title"/>
          </p:nvPr>
        </p:nvSpPr>
        <p:spPr>
          <a:xfrm>
            <a:off x="684000" y="1952001"/>
            <a:ext cx="7738800" cy="10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4194"/>
              </a:buClr>
              <a:buSzPts val="6000"/>
              <a:buFont typeface="Avenir"/>
              <a:buNone/>
              <a:defRPr sz="6000" b="0" i="0" u="none" strike="noStrike" cap="none">
                <a:solidFill>
                  <a:srgbClr val="154194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32" name="Google Shape;132;g31ff23c518a_0_117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  <p:sp>
        <p:nvSpPr>
          <p:cNvPr id="133" name="Google Shape;133;g31ff23c518a_0_117"/>
          <p:cNvSpPr/>
          <p:nvPr/>
        </p:nvSpPr>
        <p:spPr>
          <a:xfrm flipH="1">
            <a:off x="-3" y="2166150"/>
            <a:ext cx="180000" cy="32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endParaRPr sz="2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" name="Google Shape;134;g31ff23c518a_0_117"/>
          <p:cNvSpPr txBox="1">
            <a:spLocks noGrp="1"/>
          </p:cNvSpPr>
          <p:nvPr>
            <p:ph type="body" idx="5"/>
          </p:nvPr>
        </p:nvSpPr>
        <p:spPr>
          <a:xfrm>
            <a:off x="1666874" y="5434319"/>
            <a:ext cx="3301500" cy="138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31115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5" name="Google Shape;135;g31ff23c518a_0_117"/>
          <p:cNvSpPr txBox="1">
            <a:spLocks noGrp="1"/>
          </p:cNvSpPr>
          <p:nvPr>
            <p:ph type="body" idx="6"/>
          </p:nvPr>
        </p:nvSpPr>
        <p:spPr>
          <a:xfrm>
            <a:off x="5610914" y="5434318"/>
            <a:ext cx="3301500" cy="138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31115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6" name="Google Shape;136;g31ff23c518a_0_117"/>
          <p:cNvSpPr txBox="1">
            <a:spLocks noGrp="1"/>
          </p:cNvSpPr>
          <p:nvPr>
            <p:ph type="body" idx="7"/>
          </p:nvPr>
        </p:nvSpPr>
        <p:spPr>
          <a:xfrm>
            <a:off x="9645623" y="5434318"/>
            <a:ext cx="3301500" cy="138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31115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_Inhalt">
  <p:cSld name="Text_Inhal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g31ff23c518a_0_58"/>
          <p:cNvSpPr txBox="1">
            <a:spLocks noGrp="1"/>
          </p:cNvSpPr>
          <p:nvPr>
            <p:ph type="body" idx="1"/>
          </p:nvPr>
        </p:nvSpPr>
        <p:spPr>
          <a:xfrm>
            <a:off x="1006764" y="2161428"/>
            <a:ext cx="5400000" cy="3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31115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Google Shape;24;g31ff23c518a_0_58"/>
          <p:cNvSpPr/>
          <p:nvPr/>
        </p:nvSpPr>
        <p:spPr>
          <a:xfrm flipH="1">
            <a:off x="-3" y="2166150"/>
            <a:ext cx="180000" cy="32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endParaRPr sz="2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25;g31ff23c518a_0_58"/>
          <p:cNvSpPr txBox="1">
            <a:spLocks noGrp="1"/>
          </p:cNvSpPr>
          <p:nvPr>
            <p:ph type="body" idx="2"/>
          </p:nvPr>
        </p:nvSpPr>
        <p:spPr>
          <a:xfrm>
            <a:off x="1008000" y="814820"/>
            <a:ext cx="5400000" cy="44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venir"/>
              <a:buNone/>
              <a:defRPr sz="2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g31ff23c518a_0_58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"/>
              <a:buFont typeface="Avenir"/>
              <a:buNone/>
              <a:defRPr sz="12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"/>
              <a:buFont typeface="Avenir"/>
              <a:buNone/>
              <a:defRPr sz="12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"/>
              <a:buFont typeface="Avenir"/>
              <a:buNone/>
              <a:defRPr sz="12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"/>
              <a:buFont typeface="Avenir"/>
              <a:buNone/>
              <a:defRPr sz="12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"/>
              <a:buFont typeface="Avenir"/>
              <a:buNone/>
              <a:defRPr sz="12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"/>
              <a:buFont typeface="Avenir"/>
              <a:buNone/>
              <a:defRPr sz="12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"/>
              <a:buFont typeface="Avenir"/>
              <a:buNone/>
              <a:defRPr sz="12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"/>
              <a:buFont typeface="Avenir"/>
              <a:buNone/>
              <a:defRPr sz="12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"/>
              <a:buFont typeface="Avenir"/>
              <a:buNone/>
              <a:defRPr sz="12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  <p:sp>
        <p:nvSpPr>
          <p:cNvPr id="27" name="Google Shape;27;g31ff23c518a_0_58"/>
          <p:cNvSpPr txBox="1">
            <a:spLocks noGrp="1"/>
          </p:cNvSpPr>
          <p:nvPr>
            <p:ph type="title"/>
          </p:nvPr>
        </p:nvSpPr>
        <p:spPr>
          <a:xfrm>
            <a:off x="1006764" y="385641"/>
            <a:ext cx="5400000" cy="3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8" name="Google Shape;28;g31ff23c518a_0_58"/>
          <p:cNvSpPr>
            <a:spLocks noGrp="1"/>
          </p:cNvSpPr>
          <p:nvPr>
            <p:ph type="pic" idx="3"/>
          </p:nvPr>
        </p:nvSpPr>
        <p:spPr>
          <a:xfrm>
            <a:off x="7294082" y="0"/>
            <a:ext cx="6137700" cy="75612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halt">
  <p:cSld name="Inhal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g31ff23c518a_0_13"/>
          <p:cNvSpPr txBox="1">
            <a:spLocks noGrp="1"/>
          </p:cNvSpPr>
          <p:nvPr>
            <p:ph type="body" idx="1"/>
          </p:nvPr>
        </p:nvSpPr>
        <p:spPr>
          <a:xfrm>
            <a:off x="746377" y="2166150"/>
            <a:ext cx="1468500" cy="484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6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Avenir"/>
              <a:buNone/>
              <a:defRPr sz="6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" name="Google Shape;31;g31ff23c518a_0_13"/>
          <p:cNvSpPr txBox="1">
            <a:spLocks noGrp="1"/>
          </p:cNvSpPr>
          <p:nvPr>
            <p:ph type="body" idx="2"/>
          </p:nvPr>
        </p:nvSpPr>
        <p:spPr>
          <a:xfrm>
            <a:off x="2214749" y="2058172"/>
            <a:ext cx="547380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Avenir"/>
              <a:buNone/>
              <a:defRPr sz="2400" b="0" i="0" u="none" strike="noStrike" cap="none">
                <a:solidFill>
                  <a:srgbClr val="5C616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" name="Google Shape;32;g31ff23c518a_0_13"/>
          <p:cNvSpPr txBox="1">
            <a:spLocks noGrp="1"/>
          </p:cNvSpPr>
          <p:nvPr>
            <p:ph type="body" idx="3"/>
          </p:nvPr>
        </p:nvSpPr>
        <p:spPr>
          <a:xfrm>
            <a:off x="2214749" y="2810515"/>
            <a:ext cx="547380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Avenir"/>
              <a:buNone/>
              <a:defRPr sz="2400" b="0" i="0" u="none" strike="noStrike" cap="none">
                <a:solidFill>
                  <a:srgbClr val="5C616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3" name="Google Shape;33;g31ff23c518a_0_13"/>
          <p:cNvSpPr txBox="1">
            <a:spLocks noGrp="1"/>
          </p:cNvSpPr>
          <p:nvPr>
            <p:ph type="body" idx="4"/>
          </p:nvPr>
        </p:nvSpPr>
        <p:spPr>
          <a:xfrm>
            <a:off x="2214749" y="3586955"/>
            <a:ext cx="547380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Avenir"/>
              <a:buNone/>
              <a:defRPr sz="2400" b="0" i="0" u="none" strike="noStrike" cap="none">
                <a:solidFill>
                  <a:srgbClr val="5C616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4" name="Google Shape;34;g31ff23c518a_0_13"/>
          <p:cNvSpPr txBox="1">
            <a:spLocks noGrp="1"/>
          </p:cNvSpPr>
          <p:nvPr>
            <p:ph type="body" idx="5"/>
          </p:nvPr>
        </p:nvSpPr>
        <p:spPr>
          <a:xfrm>
            <a:off x="2214749" y="4359237"/>
            <a:ext cx="547380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Avenir"/>
              <a:buNone/>
              <a:defRPr sz="2400" b="0" i="0" u="none" strike="noStrike" cap="none">
                <a:solidFill>
                  <a:srgbClr val="5C616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" name="Google Shape;35;g31ff23c518a_0_13"/>
          <p:cNvSpPr txBox="1">
            <a:spLocks noGrp="1"/>
          </p:cNvSpPr>
          <p:nvPr>
            <p:ph type="body" idx="6"/>
          </p:nvPr>
        </p:nvSpPr>
        <p:spPr>
          <a:xfrm>
            <a:off x="2214749" y="5146530"/>
            <a:ext cx="547380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Avenir"/>
              <a:buNone/>
              <a:defRPr sz="2400" b="0" i="0" u="none" strike="noStrike" cap="none">
                <a:solidFill>
                  <a:srgbClr val="5C616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" name="Google Shape;36;g31ff23c518a_0_13"/>
          <p:cNvSpPr/>
          <p:nvPr/>
        </p:nvSpPr>
        <p:spPr>
          <a:xfrm flipH="1">
            <a:off x="-3" y="2166150"/>
            <a:ext cx="180000" cy="32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endParaRPr sz="2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37;g31ff23c518a_0_13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pitelseite_Bild_schmal">
  <p:cSld name="Kapitelseite_Bild_schmal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g31ff23c518a_0_22"/>
          <p:cNvSpPr>
            <a:spLocks noGrp="1"/>
          </p:cNvSpPr>
          <p:nvPr>
            <p:ph type="pic" idx="2"/>
          </p:nvPr>
        </p:nvSpPr>
        <p:spPr>
          <a:xfrm>
            <a:off x="9096376" y="183600"/>
            <a:ext cx="4335600" cy="7195800"/>
          </a:xfrm>
          <a:prstGeom prst="rect">
            <a:avLst/>
          </a:prstGeom>
          <a:noFill/>
          <a:ln>
            <a:noFill/>
          </a:ln>
        </p:spPr>
      </p:sp>
      <p:sp>
        <p:nvSpPr>
          <p:cNvPr id="40" name="Google Shape;40;g31ff23c518a_0_22"/>
          <p:cNvSpPr txBox="1">
            <a:spLocks noGrp="1"/>
          </p:cNvSpPr>
          <p:nvPr>
            <p:ph type="title"/>
          </p:nvPr>
        </p:nvSpPr>
        <p:spPr>
          <a:xfrm>
            <a:off x="684000" y="1952001"/>
            <a:ext cx="7738800" cy="10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4194"/>
              </a:buClr>
              <a:buSzPts val="6000"/>
              <a:buFont typeface="Avenir"/>
              <a:buNone/>
              <a:defRPr sz="6000" b="0" i="0" u="none" strike="noStrike" cap="none">
                <a:solidFill>
                  <a:srgbClr val="154194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41" name="Google Shape;41;g31ff23c518a_0_22"/>
          <p:cNvSpPr txBox="1">
            <a:spLocks noGrp="1"/>
          </p:cNvSpPr>
          <p:nvPr>
            <p:ph type="body" idx="1"/>
          </p:nvPr>
        </p:nvSpPr>
        <p:spPr>
          <a:xfrm>
            <a:off x="1638270" y="3183983"/>
            <a:ext cx="6822900" cy="163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rgbClr val="5C616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rgbClr val="585A59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rgbClr val="585A59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rgbClr val="585A59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rgbClr val="585A59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rgbClr val="585A59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rgbClr val="585A59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rgbClr val="585A59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rgbClr val="585A59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2" name="Google Shape;42;g31ff23c518a_0_22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  <p:sp>
        <p:nvSpPr>
          <p:cNvPr id="43" name="Google Shape;43;g31ff23c518a_0_22"/>
          <p:cNvSpPr/>
          <p:nvPr/>
        </p:nvSpPr>
        <p:spPr>
          <a:xfrm>
            <a:off x="1" y="-375"/>
            <a:ext cx="13431837" cy="7563600"/>
          </a:xfrm>
          <a:custGeom>
            <a:avLst/>
            <a:gdLst/>
            <a:ahLst/>
            <a:cxnLst/>
            <a:rect l="l" t="t" r="r" b="b"/>
            <a:pathLst>
              <a:path w="13431837" h="7563600" extrusionOk="0">
                <a:moveTo>
                  <a:pt x="0" y="0"/>
                </a:moveTo>
                <a:lnTo>
                  <a:pt x="180000" y="0"/>
                </a:lnTo>
                <a:lnTo>
                  <a:pt x="180000" y="375"/>
                </a:lnTo>
                <a:lnTo>
                  <a:pt x="13251837" y="375"/>
                </a:lnTo>
                <a:lnTo>
                  <a:pt x="13251837" y="375"/>
                </a:lnTo>
                <a:lnTo>
                  <a:pt x="13431837" y="375"/>
                </a:lnTo>
                <a:lnTo>
                  <a:pt x="13431837" y="2016375"/>
                </a:lnTo>
                <a:lnTo>
                  <a:pt x="13251837" y="2016375"/>
                </a:lnTo>
                <a:lnTo>
                  <a:pt x="13251837" y="183975"/>
                </a:lnTo>
                <a:lnTo>
                  <a:pt x="180000" y="183975"/>
                </a:lnTo>
                <a:lnTo>
                  <a:pt x="180000" y="7379625"/>
                </a:lnTo>
                <a:lnTo>
                  <a:pt x="13251837" y="7379625"/>
                </a:lnTo>
                <a:lnTo>
                  <a:pt x="13251837" y="5547225"/>
                </a:lnTo>
                <a:lnTo>
                  <a:pt x="13431837" y="5547225"/>
                </a:lnTo>
                <a:lnTo>
                  <a:pt x="13431837" y="7563225"/>
                </a:lnTo>
                <a:lnTo>
                  <a:pt x="13431599" y="7563225"/>
                </a:lnTo>
                <a:lnTo>
                  <a:pt x="13251837" y="7563225"/>
                </a:lnTo>
                <a:lnTo>
                  <a:pt x="180000" y="7563225"/>
                </a:lnTo>
                <a:lnTo>
                  <a:pt x="180000" y="7563600"/>
                </a:lnTo>
                <a:lnTo>
                  <a:pt x="0" y="7563600"/>
                </a:lnTo>
                <a:lnTo>
                  <a:pt x="0" y="7563225"/>
                </a:lnTo>
                <a:lnTo>
                  <a:pt x="0" y="7563225"/>
                </a:lnTo>
                <a:lnTo>
                  <a:pt x="0" y="7379625"/>
                </a:lnTo>
                <a:lnTo>
                  <a:pt x="0" y="7379625"/>
                </a:lnTo>
                <a:lnTo>
                  <a:pt x="0" y="183975"/>
                </a:lnTo>
                <a:lnTo>
                  <a:pt x="0" y="375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eer">
  <p:cSld name="Le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g31ff23c518a_0_28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  <p:sp>
        <p:nvSpPr>
          <p:cNvPr id="46" name="Google Shape;46;g31ff23c518a_0_28"/>
          <p:cNvSpPr/>
          <p:nvPr/>
        </p:nvSpPr>
        <p:spPr>
          <a:xfrm flipH="1">
            <a:off x="-3" y="2166150"/>
            <a:ext cx="180000" cy="32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endParaRPr sz="2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47;g31ff23c518a_0_28"/>
          <p:cNvSpPr txBox="1">
            <a:spLocks noGrp="1"/>
          </p:cNvSpPr>
          <p:nvPr>
            <p:ph type="body" idx="1"/>
          </p:nvPr>
        </p:nvSpPr>
        <p:spPr>
          <a:xfrm>
            <a:off x="1007999" y="814820"/>
            <a:ext cx="11940300" cy="44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venir"/>
              <a:buNone/>
              <a:defRPr sz="2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Google Shape;48;g31ff23c518a_0_28"/>
          <p:cNvSpPr txBox="1">
            <a:spLocks noGrp="1"/>
          </p:cNvSpPr>
          <p:nvPr>
            <p:ph type="title"/>
          </p:nvPr>
        </p:nvSpPr>
        <p:spPr>
          <a:xfrm>
            <a:off x="1006763" y="385641"/>
            <a:ext cx="11940300" cy="3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49" name="Google Shape;49;g31ff23c518a_0_28"/>
          <p:cNvSpPr txBox="1">
            <a:spLocks noGrp="1"/>
          </p:cNvSpPr>
          <p:nvPr>
            <p:ph type="body" idx="2"/>
          </p:nvPr>
        </p:nvSpPr>
        <p:spPr>
          <a:xfrm>
            <a:off x="1006764" y="2161428"/>
            <a:ext cx="11940300" cy="3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31115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rgbClr val="2A2C2D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_Bild">
  <p:cSld name="Text_Bild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31ff23c518a_0_34"/>
          <p:cNvSpPr txBox="1">
            <a:spLocks noGrp="1"/>
          </p:cNvSpPr>
          <p:nvPr>
            <p:ph type="body" idx="1"/>
          </p:nvPr>
        </p:nvSpPr>
        <p:spPr>
          <a:xfrm>
            <a:off x="1006764" y="5366101"/>
            <a:ext cx="3744000" cy="154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1115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g31ff23c518a_0_34"/>
          <p:cNvSpPr txBox="1">
            <a:spLocks noGrp="1"/>
          </p:cNvSpPr>
          <p:nvPr>
            <p:ph type="body" idx="2"/>
          </p:nvPr>
        </p:nvSpPr>
        <p:spPr>
          <a:xfrm>
            <a:off x="1006764" y="5015264"/>
            <a:ext cx="37440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g31ff23c518a_0_34"/>
          <p:cNvSpPr txBox="1">
            <a:spLocks noGrp="1"/>
          </p:cNvSpPr>
          <p:nvPr>
            <p:ph type="body" idx="3"/>
          </p:nvPr>
        </p:nvSpPr>
        <p:spPr>
          <a:xfrm>
            <a:off x="5104931" y="5015264"/>
            <a:ext cx="37440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Google Shape;54;g31ff23c518a_0_34"/>
          <p:cNvSpPr txBox="1">
            <a:spLocks noGrp="1"/>
          </p:cNvSpPr>
          <p:nvPr>
            <p:ph type="body" idx="4"/>
          </p:nvPr>
        </p:nvSpPr>
        <p:spPr>
          <a:xfrm>
            <a:off x="9203096" y="5015264"/>
            <a:ext cx="37440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5" name="Google Shape;55;g31ff23c518a_0_34"/>
          <p:cNvSpPr>
            <a:spLocks noGrp="1"/>
          </p:cNvSpPr>
          <p:nvPr>
            <p:ph type="pic" idx="5"/>
          </p:nvPr>
        </p:nvSpPr>
        <p:spPr>
          <a:xfrm>
            <a:off x="1006763" y="2706557"/>
            <a:ext cx="3744000" cy="2159700"/>
          </a:xfrm>
          <a:prstGeom prst="rect">
            <a:avLst/>
          </a:prstGeom>
          <a:noFill/>
          <a:ln>
            <a:noFill/>
          </a:ln>
        </p:spPr>
      </p:sp>
      <p:sp>
        <p:nvSpPr>
          <p:cNvPr id="56" name="Google Shape;56;g31ff23c518a_0_34"/>
          <p:cNvSpPr>
            <a:spLocks noGrp="1"/>
          </p:cNvSpPr>
          <p:nvPr>
            <p:ph type="pic" idx="6"/>
          </p:nvPr>
        </p:nvSpPr>
        <p:spPr>
          <a:xfrm>
            <a:off x="5104932" y="2706239"/>
            <a:ext cx="3744000" cy="2159700"/>
          </a:xfrm>
          <a:prstGeom prst="rect">
            <a:avLst/>
          </a:prstGeom>
          <a:noFill/>
          <a:ln>
            <a:noFill/>
          </a:ln>
        </p:spPr>
      </p:sp>
      <p:sp>
        <p:nvSpPr>
          <p:cNvPr id="57" name="Google Shape;57;g31ff23c518a_0_34"/>
          <p:cNvSpPr>
            <a:spLocks noGrp="1"/>
          </p:cNvSpPr>
          <p:nvPr>
            <p:ph type="pic" idx="7"/>
          </p:nvPr>
        </p:nvSpPr>
        <p:spPr>
          <a:xfrm>
            <a:off x="9203102" y="2706557"/>
            <a:ext cx="3744000" cy="2160000"/>
          </a:xfrm>
          <a:prstGeom prst="rect">
            <a:avLst/>
          </a:prstGeom>
          <a:noFill/>
          <a:ln>
            <a:noFill/>
          </a:ln>
        </p:spPr>
      </p:sp>
      <p:sp>
        <p:nvSpPr>
          <p:cNvPr id="58" name="Google Shape;58;g31ff23c518a_0_34"/>
          <p:cNvSpPr/>
          <p:nvPr/>
        </p:nvSpPr>
        <p:spPr>
          <a:xfrm flipH="1">
            <a:off x="-3" y="2166150"/>
            <a:ext cx="180000" cy="32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endParaRPr sz="2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g31ff23c518a_0_34"/>
          <p:cNvSpPr txBox="1">
            <a:spLocks noGrp="1"/>
          </p:cNvSpPr>
          <p:nvPr>
            <p:ph type="body" idx="8"/>
          </p:nvPr>
        </p:nvSpPr>
        <p:spPr>
          <a:xfrm>
            <a:off x="1006763" y="2166150"/>
            <a:ext cx="119403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venir"/>
              <a:buNone/>
              <a:defRPr sz="1300" b="0" i="0" u="none" strike="noStrike" cap="none">
                <a:solidFill>
                  <a:srgbClr val="242626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0" name="Google Shape;60;g31ff23c518a_0_34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  <p:sp>
        <p:nvSpPr>
          <p:cNvPr id="61" name="Google Shape;61;g31ff23c518a_0_34"/>
          <p:cNvSpPr txBox="1">
            <a:spLocks noGrp="1"/>
          </p:cNvSpPr>
          <p:nvPr>
            <p:ph type="body" idx="9"/>
          </p:nvPr>
        </p:nvSpPr>
        <p:spPr>
          <a:xfrm>
            <a:off x="1007999" y="814820"/>
            <a:ext cx="11940300" cy="44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venir"/>
              <a:buNone/>
              <a:defRPr sz="2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2" name="Google Shape;62;g31ff23c518a_0_34"/>
          <p:cNvSpPr txBox="1">
            <a:spLocks noGrp="1"/>
          </p:cNvSpPr>
          <p:nvPr>
            <p:ph type="title"/>
          </p:nvPr>
        </p:nvSpPr>
        <p:spPr>
          <a:xfrm>
            <a:off x="1006763" y="385641"/>
            <a:ext cx="11940300" cy="3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63" name="Google Shape;63;g31ff23c518a_0_34"/>
          <p:cNvSpPr txBox="1">
            <a:spLocks noGrp="1"/>
          </p:cNvSpPr>
          <p:nvPr>
            <p:ph type="body" idx="13"/>
          </p:nvPr>
        </p:nvSpPr>
        <p:spPr>
          <a:xfrm>
            <a:off x="5104931" y="5366101"/>
            <a:ext cx="3744000" cy="154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1115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4" name="Google Shape;64;g31ff23c518a_0_34"/>
          <p:cNvSpPr txBox="1">
            <a:spLocks noGrp="1"/>
          </p:cNvSpPr>
          <p:nvPr>
            <p:ph type="body" idx="14"/>
          </p:nvPr>
        </p:nvSpPr>
        <p:spPr>
          <a:xfrm>
            <a:off x="9203103" y="5366101"/>
            <a:ext cx="3744000" cy="154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1115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Noto Sans Symbols"/>
              <a:buChar char="▪"/>
              <a:defRPr sz="13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ielen Dank">
  <p:cSld name="Vielen Dank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g31ff23c518a_0_49"/>
          <p:cNvSpPr/>
          <p:nvPr/>
        </p:nvSpPr>
        <p:spPr>
          <a:xfrm>
            <a:off x="0" y="0"/>
            <a:ext cx="13431900" cy="7563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9150" tIns="64575" rIns="129150" bIns="645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endParaRPr sz="2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67;g31ff23c518a_0_49"/>
          <p:cNvSpPr/>
          <p:nvPr/>
        </p:nvSpPr>
        <p:spPr>
          <a:xfrm>
            <a:off x="109918" y="110622"/>
            <a:ext cx="13212000" cy="7344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05175" tIns="52575" rIns="105175" bIns="525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68" name="Google Shape;68;g31ff23c518a_0_49"/>
          <p:cNvSpPr txBox="1"/>
          <p:nvPr/>
        </p:nvSpPr>
        <p:spPr>
          <a:xfrm>
            <a:off x="630303" y="5201860"/>
            <a:ext cx="7159800" cy="21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5175" tIns="52575" rIns="105175" bIns="52575" anchor="b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01F20"/>
              </a:buClr>
              <a:buSzPts val="400"/>
              <a:buFont typeface="Avenir"/>
              <a:buNone/>
            </a:pPr>
            <a:r>
              <a:rPr lang="en-US" sz="1600" b="1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rPr>
              <a:t>CDTM – CENTER FOR DIGITAL TECHNOLOGY AND MANAGEME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01F20"/>
              </a:buClr>
              <a:buSzPts val="400"/>
              <a:buFont typeface="Avenir"/>
              <a:buNone/>
            </a:pPr>
            <a:r>
              <a:rPr lang="en-US" sz="1600" b="1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rPr>
              <a:t>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01F20"/>
              </a:buClr>
              <a:buSzPts val="400"/>
              <a:buFont typeface="Avenir"/>
              <a:buNone/>
            </a:pPr>
            <a:endParaRPr sz="1600" b="1" i="0" u="none" strike="noStrike" cap="none">
              <a:solidFill>
                <a:schemeClr val="dk2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01F20"/>
              </a:buClr>
              <a:buSzPts val="400"/>
              <a:buFont typeface="Avenir"/>
              <a:buNone/>
            </a:pPr>
            <a:endParaRPr sz="1600" b="1" i="0" u="none" strike="noStrike" cap="none">
              <a:solidFill>
                <a:schemeClr val="dk2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01F20"/>
              </a:buClr>
              <a:buSzPts val="400"/>
              <a:buFont typeface="Avenir"/>
              <a:buNone/>
            </a:pPr>
            <a:endParaRPr sz="1600" b="1" i="0" u="none" strike="noStrike" cap="none">
              <a:solidFill>
                <a:schemeClr val="dk2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01F20"/>
              </a:buClr>
              <a:buSzPts val="300"/>
              <a:buFont typeface="Avenir"/>
              <a:buNone/>
            </a:pPr>
            <a:endParaRPr sz="1200" b="1" i="0" u="none" strike="noStrike" cap="none">
              <a:solidFill>
                <a:schemeClr val="dk2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01F20"/>
              </a:buClr>
              <a:buSzPts val="300"/>
              <a:buFont typeface="Avenir"/>
              <a:buNone/>
            </a:pPr>
            <a:r>
              <a:rPr lang="en-US" sz="1200" b="0" i="0" u="none" strike="noStrike" cap="none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In collaboration with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01F20"/>
              </a:buClr>
              <a:buSzPts val="300"/>
              <a:buFont typeface="Avenir"/>
              <a:buNone/>
            </a:pPr>
            <a:endParaRPr sz="1200" b="0" i="0" u="none" strike="noStrike" cap="none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01F20"/>
              </a:buClr>
              <a:buSzPts val="300"/>
              <a:buFont typeface="Avenir"/>
              <a:buNone/>
            </a:pPr>
            <a:endParaRPr sz="1200" b="0" i="0" u="none" strike="noStrike" cap="none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01F20"/>
              </a:buClr>
              <a:buSzPts val="300"/>
              <a:buFont typeface="Avenir"/>
              <a:buNone/>
            </a:pPr>
            <a:endParaRPr sz="1200" b="0" i="0" u="none" strike="noStrike" cap="none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D01F20"/>
              </a:buClr>
              <a:buSzPts val="300"/>
              <a:buFont typeface="Avenir"/>
              <a:buNone/>
            </a:pPr>
            <a:endParaRPr sz="1200" b="0" i="0" u="none" strike="noStrike" cap="none">
              <a:solidFill>
                <a:srgbClr val="FFFFFF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69" name="Google Shape;69;g31ff23c518a_0_49" descr="A black and white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51927" y="694616"/>
            <a:ext cx="951085" cy="70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0" name="Google Shape;70;g31ff23c518a_0_49" descr="A black background with white tex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3137" y="6276122"/>
            <a:ext cx="1503890" cy="749164"/>
          </a:xfrm>
          <a:prstGeom prst="rect">
            <a:avLst/>
          </a:prstGeom>
          <a:noFill/>
          <a:ln>
            <a:noFill/>
          </a:ln>
        </p:spPr>
      </p:pic>
      <p:pic>
        <p:nvPicPr>
          <p:cNvPr id="71" name="Google Shape;71;g31ff23c518a_0_49" descr="A black and white logo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436951" y="6132879"/>
            <a:ext cx="2364584" cy="892407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Google Shape;72;g31ff23c518a_0_49" descr="A black and white logo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425462" y="5823302"/>
            <a:ext cx="3296553" cy="1558372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Google Shape;73;g31ff23c518a_0_49" descr="A black and white logo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969955" y="5829585"/>
            <a:ext cx="5976594" cy="157099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ext_Bild">
  <p:cSld name="1_Text_Bild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g31ff23c518a_0_65"/>
          <p:cNvSpPr>
            <a:spLocks noGrp="1"/>
          </p:cNvSpPr>
          <p:nvPr>
            <p:ph type="pic" idx="2"/>
          </p:nvPr>
        </p:nvSpPr>
        <p:spPr>
          <a:xfrm>
            <a:off x="1006762" y="2706557"/>
            <a:ext cx="5733000" cy="1518000"/>
          </a:xfrm>
          <a:prstGeom prst="rect">
            <a:avLst/>
          </a:prstGeom>
          <a:noFill/>
          <a:ln>
            <a:noFill/>
          </a:ln>
        </p:spPr>
      </p:sp>
      <p:sp>
        <p:nvSpPr>
          <p:cNvPr id="76" name="Google Shape;76;g31ff23c518a_0_65"/>
          <p:cNvSpPr/>
          <p:nvPr/>
        </p:nvSpPr>
        <p:spPr>
          <a:xfrm flipH="1">
            <a:off x="-3" y="2166150"/>
            <a:ext cx="180000" cy="32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endParaRPr sz="2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77;g31ff23c518a_0_65"/>
          <p:cNvSpPr txBox="1">
            <a:spLocks noGrp="1"/>
          </p:cNvSpPr>
          <p:nvPr>
            <p:ph type="body" idx="1"/>
          </p:nvPr>
        </p:nvSpPr>
        <p:spPr>
          <a:xfrm>
            <a:off x="1006763" y="2166150"/>
            <a:ext cx="119403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venir"/>
              <a:buNone/>
              <a:defRPr sz="1300" b="0" i="0" u="none" strike="noStrike" cap="none">
                <a:solidFill>
                  <a:srgbClr val="242626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8" name="Google Shape;78;g31ff23c518a_0_65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  <p:sp>
        <p:nvSpPr>
          <p:cNvPr id="79" name="Google Shape;79;g31ff23c518a_0_65"/>
          <p:cNvSpPr txBox="1">
            <a:spLocks noGrp="1"/>
          </p:cNvSpPr>
          <p:nvPr>
            <p:ph type="body" idx="3"/>
          </p:nvPr>
        </p:nvSpPr>
        <p:spPr>
          <a:xfrm>
            <a:off x="1007999" y="814820"/>
            <a:ext cx="11940300" cy="44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venir"/>
              <a:buNone/>
              <a:defRPr sz="2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0" name="Google Shape;80;g31ff23c518a_0_65"/>
          <p:cNvSpPr txBox="1">
            <a:spLocks noGrp="1"/>
          </p:cNvSpPr>
          <p:nvPr>
            <p:ph type="title"/>
          </p:nvPr>
        </p:nvSpPr>
        <p:spPr>
          <a:xfrm>
            <a:off x="1006763" y="385641"/>
            <a:ext cx="11940300" cy="3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81" name="Google Shape;81;g31ff23c518a_0_65"/>
          <p:cNvSpPr txBox="1">
            <a:spLocks noGrp="1"/>
          </p:cNvSpPr>
          <p:nvPr>
            <p:ph type="body" idx="4"/>
          </p:nvPr>
        </p:nvSpPr>
        <p:spPr>
          <a:xfrm>
            <a:off x="1006765" y="4341283"/>
            <a:ext cx="57330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2" name="Google Shape;82;g31ff23c518a_0_65"/>
          <p:cNvSpPr>
            <a:spLocks noGrp="1"/>
          </p:cNvSpPr>
          <p:nvPr>
            <p:ph type="pic" idx="5"/>
          </p:nvPr>
        </p:nvSpPr>
        <p:spPr>
          <a:xfrm>
            <a:off x="1006762" y="4861944"/>
            <a:ext cx="5733000" cy="1518000"/>
          </a:xfrm>
          <a:prstGeom prst="rect">
            <a:avLst/>
          </a:prstGeom>
          <a:noFill/>
          <a:ln>
            <a:noFill/>
          </a:ln>
        </p:spPr>
      </p:sp>
      <p:sp>
        <p:nvSpPr>
          <p:cNvPr id="83" name="Google Shape;83;g31ff23c518a_0_65"/>
          <p:cNvSpPr txBox="1">
            <a:spLocks noGrp="1"/>
          </p:cNvSpPr>
          <p:nvPr>
            <p:ph type="body" idx="6"/>
          </p:nvPr>
        </p:nvSpPr>
        <p:spPr>
          <a:xfrm>
            <a:off x="1006765" y="6496670"/>
            <a:ext cx="57330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g31ff23c518a_0_65"/>
          <p:cNvSpPr>
            <a:spLocks noGrp="1"/>
          </p:cNvSpPr>
          <p:nvPr>
            <p:ph type="pic" idx="7"/>
          </p:nvPr>
        </p:nvSpPr>
        <p:spPr>
          <a:xfrm>
            <a:off x="7214037" y="2706557"/>
            <a:ext cx="5733000" cy="1518000"/>
          </a:xfrm>
          <a:prstGeom prst="rect">
            <a:avLst/>
          </a:prstGeom>
          <a:noFill/>
          <a:ln>
            <a:noFill/>
          </a:ln>
        </p:spPr>
      </p:sp>
      <p:sp>
        <p:nvSpPr>
          <p:cNvPr id="85" name="Google Shape;85;g31ff23c518a_0_65"/>
          <p:cNvSpPr txBox="1">
            <a:spLocks noGrp="1"/>
          </p:cNvSpPr>
          <p:nvPr>
            <p:ph type="body" idx="8"/>
          </p:nvPr>
        </p:nvSpPr>
        <p:spPr>
          <a:xfrm>
            <a:off x="7214040" y="4341283"/>
            <a:ext cx="57330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g31ff23c518a_0_65"/>
          <p:cNvSpPr>
            <a:spLocks noGrp="1"/>
          </p:cNvSpPr>
          <p:nvPr>
            <p:ph type="pic" idx="9"/>
          </p:nvPr>
        </p:nvSpPr>
        <p:spPr>
          <a:xfrm>
            <a:off x="7214037" y="4861944"/>
            <a:ext cx="5733000" cy="1518000"/>
          </a:xfrm>
          <a:prstGeom prst="rect">
            <a:avLst/>
          </a:prstGeom>
          <a:noFill/>
          <a:ln>
            <a:noFill/>
          </a:ln>
        </p:spPr>
      </p:sp>
      <p:sp>
        <p:nvSpPr>
          <p:cNvPr id="87" name="Google Shape;87;g31ff23c518a_0_65"/>
          <p:cNvSpPr txBox="1">
            <a:spLocks noGrp="1"/>
          </p:cNvSpPr>
          <p:nvPr>
            <p:ph type="body" idx="13"/>
          </p:nvPr>
        </p:nvSpPr>
        <p:spPr>
          <a:xfrm>
            <a:off x="7214040" y="6496670"/>
            <a:ext cx="5733000" cy="35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pitelseite_Bild_breit">
  <p:cSld name="Kapitelseite_Bild_breit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g31ff23c518a_0_79"/>
          <p:cNvSpPr>
            <a:spLocks noGrp="1"/>
          </p:cNvSpPr>
          <p:nvPr>
            <p:ph type="pic" idx="2"/>
          </p:nvPr>
        </p:nvSpPr>
        <p:spPr>
          <a:xfrm>
            <a:off x="7294082" y="183600"/>
            <a:ext cx="6137700" cy="7195800"/>
          </a:xfrm>
          <a:prstGeom prst="rect">
            <a:avLst/>
          </a:prstGeom>
          <a:noFill/>
          <a:ln>
            <a:noFill/>
          </a:ln>
        </p:spPr>
      </p:sp>
      <p:sp>
        <p:nvSpPr>
          <p:cNvPr id="90" name="Google Shape;90;g31ff23c518a_0_79"/>
          <p:cNvSpPr txBox="1">
            <a:spLocks noGrp="1"/>
          </p:cNvSpPr>
          <p:nvPr>
            <p:ph type="title"/>
          </p:nvPr>
        </p:nvSpPr>
        <p:spPr>
          <a:xfrm>
            <a:off x="684001" y="1952001"/>
            <a:ext cx="6027600" cy="10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54194"/>
              </a:buClr>
              <a:buSzPts val="6000"/>
              <a:buFont typeface="Avenir"/>
              <a:buNone/>
              <a:defRPr sz="6000" b="0" i="0" u="none" strike="noStrike" cap="none">
                <a:solidFill>
                  <a:srgbClr val="154194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91" name="Google Shape;91;g31ff23c518a_0_79"/>
          <p:cNvSpPr txBox="1">
            <a:spLocks noGrp="1"/>
          </p:cNvSpPr>
          <p:nvPr>
            <p:ph type="body" idx="1"/>
          </p:nvPr>
        </p:nvSpPr>
        <p:spPr>
          <a:xfrm>
            <a:off x="1638270" y="3183983"/>
            <a:ext cx="5314200" cy="163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venir"/>
              <a:buNone/>
              <a:defRPr sz="1800" b="0" i="0" u="none" strike="noStrike" cap="none">
                <a:solidFill>
                  <a:srgbClr val="5C616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rgbClr val="585A59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rgbClr val="585A59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rgbClr val="585A59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rgbClr val="585A59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rgbClr val="585A59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rgbClr val="585A59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rgbClr val="585A59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rgbClr val="585A59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2" name="Google Shape;92;g31ff23c518a_0_79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  <p:sp>
        <p:nvSpPr>
          <p:cNvPr id="93" name="Google Shape;93;g31ff23c518a_0_79"/>
          <p:cNvSpPr/>
          <p:nvPr/>
        </p:nvSpPr>
        <p:spPr>
          <a:xfrm>
            <a:off x="1" y="-375"/>
            <a:ext cx="13431837" cy="7563600"/>
          </a:xfrm>
          <a:custGeom>
            <a:avLst/>
            <a:gdLst/>
            <a:ahLst/>
            <a:cxnLst/>
            <a:rect l="l" t="t" r="r" b="b"/>
            <a:pathLst>
              <a:path w="13431837" h="7563600" extrusionOk="0">
                <a:moveTo>
                  <a:pt x="0" y="0"/>
                </a:moveTo>
                <a:lnTo>
                  <a:pt x="180000" y="0"/>
                </a:lnTo>
                <a:lnTo>
                  <a:pt x="180000" y="375"/>
                </a:lnTo>
                <a:lnTo>
                  <a:pt x="13251837" y="375"/>
                </a:lnTo>
                <a:lnTo>
                  <a:pt x="13251837" y="375"/>
                </a:lnTo>
                <a:lnTo>
                  <a:pt x="13431837" y="375"/>
                </a:lnTo>
                <a:lnTo>
                  <a:pt x="13431837" y="2016375"/>
                </a:lnTo>
                <a:lnTo>
                  <a:pt x="13251837" y="2016375"/>
                </a:lnTo>
                <a:lnTo>
                  <a:pt x="13251837" y="183975"/>
                </a:lnTo>
                <a:lnTo>
                  <a:pt x="180000" y="183975"/>
                </a:lnTo>
                <a:lnTo>
                  <a:pt x="180000" y="7379625"/>
                </a:lnTo>
                <a:lnTo>
                  <a:pt x="13251837" y="7379625"/>
                </a:lnTo>
                <a:lnTo>
                  <a:pt x="13251837" y="5547225"/>
                </a:lnTo>
                <a:lnTo>
                  <a:pt x="13431837" y="5547225"/>
                </a:lnTo>
                <a:lnTo>
                  <a:pt x="13431837" y="7563225"/>
                </a:lnTo>
                <a:lnTo>
                  <a:pt x="13431599" y="7563225"/>
                </a:lnTo>
                <a:lnTo>
                  <a:pt x="13251837" y="7563225"/>
                </a:lnTo>
                <a:lnTo>
                  <a:pt x="180000" y="7563225"/>
                </a:lnTo>
                <a:lnTo>
                  <a:pt x="180000" y="7563600"/>
                </a:lnTo>
                <a:lnTo>
                  <a:pt x="0" y="7563600"/>
                </a:lnTo>
                <a:lnTo>
                  <a:pt x="0" y="7563225"/>
                </a:lnTo>
                <a:lnTo>
                  <a:pt x="0" y="7563225"/>
                </a:lnTo>
                <a:lnTo>
                  <a:pt x="0" y="7379625"/>
                </a:lnTo>
                <a:lnTo>
                  <a:pt x="0" y="7379625"/>
                </a:lnTo>
                <a:lnTo>
                  <a:pt x="0" y="183975"/>
                </a:lnTo>
                <a:lnTo>
                  <a:pt x="0" y="375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31ff23c518a_0_0"/>
          <p:cNvSpPr txBox="1">
            <a:spLocks noGrp="1"/>
          </p:cNvSpPr>
          <p:nvPr>
            <p:ph type="title"/>
          </p:nvPr>
        </p:nvSpPr>
        <p:spPr>
          <a:xfrm>
            <a:off x="1574319" y="385641"/>
            <a:ext cx="11092500" cy="3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g31ff23c518a_0_0"/>
          <p:cNvSpPr txBox="1">
            <a:spLocks noGrp="1"/>
          </p:cNvSpPr>
          <p:nvPr>
            <p:ph type="body" idx="1"/>
          </p:nvPr>
        </p:nvSpPr>
        <p:spPr>
          <a:xfrm>
            <a:off x="1667708" y="1620209"/>
            <a:ext cx="11300700" cy="482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113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Avenir"/>
              <a:buNone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11150" algn="l" rtl="0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–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11150" algn="l" rtl="0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Char char="»"/>
              <a:defRPr sz="13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412750" algn="l" rtl="0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412750" algn="l" rtl="0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412750" algn="l" rtl="0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412750" algn="l" rtl="0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Arial"/>
              <a:buChar char="•"/>
              <a:defRPr sz="2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g31ff23c518a_0_0"/>
          <p:cNvSpPr txBox="1">
            <a:spLocks noGrp="1"/>
          </p:cNvSpPr>
          <p:nvPr>
            <p:ph type="ftr" idx="11"/>
          </p:nvPr>
        </p:nvSpPr>
        <p:spPr>
          <a:xfrm>
            <a:off x="1574319" y="7010400"/>
            <a:ext cx="4252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991B6"/>
              </a:buClr>
              <a:buSzPts val="1200"/>
              <a:buFont typeface="Avenir"/>
              <a:buNone/>
              <a:defRPr sz="1200" b="0" i="0" u="none" strike="noStrike" cap="none">
                <a:solidFill>
                  <a:srgbClr val="8991B6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g31ff23c518a_0_0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00"/>
              <a:buFont typeface="Avenir"/>
              <a:buNone/>
              <a:defRPr sz="12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comments" Target="../comments/comment1.x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comments" Target="../comments/commen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Google Shape;142;p1"/>
          <p:cNvGraphicFramePr/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142" name="Google Shape;142;p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" name="Google Shape;143;p1"/>
          <p:cNvSpPr txBox="1">
            <a:spLocks noGrp="1"/>
          </p:cNvSpPr>
          <p:nvPr>
            <p:ph type="title"/>
          </p:nvPr>
        </p:nvSpPr>
        <p:spPr>
          <a:xfrm>
            <a:off x="1680834" y="2526316"/>
            <a:ext cx="10452364" cy="9428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None/>
            </a:pPr>
            <a:r>
              <a:rPr lang="en-US" dirty="0">
                <a:extLst>
                  <a:ext uri="http://customooxmlschemas.google.com/">
            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0"/>
                  </a:ext>
                </a:extLst>
              </a:rPr>
              <a:t>TEAM NUMBER</a:t>
            </a:r>
            <a:endParaRPr dirty="0"/>
          </a:p>
        </p:txBody>
      </p:sp>
      <p:sp>
        <p:nvSpPr>
          <p:cNvPr id="144" name="Google Shape;144;p1"/>
          <p:cNvSpPr txBox="1">
            <a:spLocks noGrp="1"/>
          </p:cNvSpPr>
          <p:nvPr>
            <p:ph type="body" idx="1"/>
          </p:nvPr>
        </p:nvSpPr>
        <p:spPr>
          <a:xfrm>
            <a:off x="1680834" y="6598254"/>
            <a:ext cx="7044876" cy="6197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dirty="0">
                <a:solidFill>
                  <a:schemeClr val="lt1"/>
                </a:solidFill>
                <a:extLst>
                  <a:ext uri="http://customooxmlschemas.google.com/">
            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1"/>
                  </a:ext>
                </a:extLst>
              </a:rPr>
              <a:t>Team members name</a:t>
            </a:r>
            <a:endParaRPr dirty="0">
              <a:solidFill>
                <a:schemeClr val="lt1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2" name="Google Shape;152;p2"/>
          <p:cNvGraphicFramePr/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2" name="Google Shape;152;p2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Google Shape;153;p2"/>
          <p:cNvSpPr txBox="1">
            <a:spLocks noGrp="1"/>
          </p:cNvSpPr>
          <p:nvPr>
            <p:ph type="body" idx="1"/>
          </p:nvPr>
        </p:nvSpPr>
        <p:spPr>
          <a:xfrm>
            <a:off x="1746229" y="1758405"/>
            <a:ext cx="6137756" cy="895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3B3B"/>
              </a:buClr>
              <a:buSzPts val="1300"/>
              <a:buNone/>
            </a:pPr>
            <a:r>
              <a:rPr lang="en-US" sz="2400" b="1" dirty="0">
                <a:solidFill>
                  <a:srgbClr val="393B3B"/>
                </a:solidFill>
              </a:rPr>
              <a:t>Description</a:t>
            </a:r>
            <a:r>
              <a:rPr lang="en-US" dirty="0">
                <a:solidFill>
                  <a:srgbClr val="393B3B"/>
                </a:solidFill>
              </a:rPr>
              <a:t>: </a:t>
            </a:r>
            <a:endParaRPr dirty="0"/>
          </a:p>
          <a:p>
            <a:pPr marL="645798" lvl="1" indent="-245747" algn="l" rtl="0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rgbClr val="393B3B"/>
              </a:buClr>
              <a:buSzPts val="1300"/>
              <a:buChar char="▪"/>
            </a:pPr>
            <a:endParaRPr dirty="0"/>
          </a:p>
          <a:p>
            <a:pPr marL="400051" lvl="1" indent="0" algn="l" rtl="0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300"/>
              <a:buNone/>
            </a:pPr>
            <a:endParaRPr dirty="0"/>
          </a:p>
          <a:p>
            <a:pPr marL="400051" lvl="1" indent="0" algn="l" rtl="0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300"/>
              <a:buNone/>
            </a:pPr>
            <a:endParaRPr dirty="0"/>
          </a:p>
          <a:p>
            <a:pPr marL="645798" lvl="1" indent="-163196" algn="l" rtl="0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300"/>
              <a:buNone/>
            </a:pP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SzPts val="1300"/>
              <a:buNone/>
            </a:pPr>
            <a:endParaRPr dirty="0"/>
          </a:p>
          <a:p>
            <a:pPr marL="285750" lvl="0" indent="-203200" algn="l" rtl="0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SzPts val="1300"/>
              <a:buNone/>
            </a:pPr>
            <a:endParaRPr dirty="0"/>
          </a:p>
        </p:txBody>
      </p:sp>
      <p:sp>
        <p:nvSpPr>
          <p:cNvPr id="154" name="Google Shape;154;p2"/>
          <p:cNvSpPr txBox="1">
            <a:spLocks noGrp="1"/>
          </p:cNvSpPr>
          <p:nvPr>
            <p:ph type="body" idx="2"/>
          </p:nvPr>
        </p:nvSpPr>
        <p:spPr>
          <a:xfrm>
            <a:off x="1008000" y="814820"/>
            <a:ext cx="6286082" cy="446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</a:pPr>
            <a:r>
              <a:rPr lang="en-US" sz="3200" b="1" dirty="0"/>
              <a:t>PROBLEM</a:t>
            </a:r>
            <a:endParaRPr sz="3200" dirty="0"/>
          </a:p>
        </p:txBody>
      </p:sp>
      <p:sp>
        <p:nvSpPr>
          <p:cNvPr id="155" name="Google Shape;155;p2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"/>
              <a:buFont typeface="Avenir"/>
              <a:buNone/>
            </a:pPr>
            <a:fld id="{00000000-1234-1234-1234-123412341234}" type="slidenum">
              <a:rPr lang="en-US">
                <a:latin typeface="Avenir"/>
                <a:ea typeface="Avenir"/>
                <a:cs typeface="Avenir"/>
                <a:sym typeface="Avenir"/>
              </a:rPr>
              <a:t>2</a:t>
            </a:fld>
            <a:endParaRPr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56" name="Google Shape;156;p2"/>
          <p:cNvSpPr txBox="1">
            <a:spLocks noGrp="1"/>
          </p:cNvSpPr>
          <p:nvPr>
            <p:ph type="title"/>
          </p:nvPr>
        </p:nvSpPr>
        <p:spPr>
          <a:xfrm>
            <a:off x="1006764" y="385641"/>
            <a:ext cx="5400000" cy="3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</a:pPr>
            <a:r>
              <a:rPr lang="en-US" dirty="0"/>
              <a:t>Team Number</a:t>
            </a:r>
            <a:endParaRPr dirty="0"/>
          </a:p>
        </p:txBody>
      </p:sp>
      <p:pic>
        <p:nvPicPr>
          <p:cNvPr id="163" name="Google Shape;163;p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92763" y="1758405"/>
            <a:ext cx="379670" cy="48513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B05AD89-0437-DE85-B7BD-B149414771B3}"/>
              </a:ext>
            </a:extLst>
          </p:cNvPr>
          <p:cNvSpPr>
            <a:spLocks noGrp="1"/>
          </p:cNvSpPr>
          <p:nvPr>
            <p:ph type="pic" idx="3"/>
          </p:nvPr>
        </p:nvSpPr>
        <p:spPr/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Google Shape;169;g31ff23c518a_0_1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87" y="1587"/>
            <a:ext cx="1587" cy="1587"/>
          </a:xfrm>
          <a:prstGeom prst="rect">
            <a:avLst/>
          </a:prstGeom>
          <a:noFill/>
          <a:ln>
            <a:noFill/>
          </a:ln>
        </p:spPr>
      </p:pic>
      <p:sp>
        <p:nvSpPr>
          <p:cNvPr id="170" name="Google Shape;170;g31ff23c518a_0_128"/>
          <p:cNvSpPr txBox="1">
            <a:spLocks noGrp="1"/>
          </p:cNvSpPr>
          <p:nvPr>
            <p:ph type="body" idx="1"/>
          </p:nvPr>
        </p:nvSpPr>
        <p:spPr>
          <a:xfrm>
            <a:off x="1746229" y="1758405"/>
            <a:ext cx="6137700" cy="89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3B3B"/>
              </a:buClr>
              <a:buSzPts val="1300"/>
              <a:buNone/>
            </a:pPr>
            <a:r>
              <a:rPr lang="en-US" sz="2400" b="1" dirty="0">
                <a:solidFill>
                  <a:srgbClr val="393B3B"/>
                </a:solidFill>
              </a:rPr>
              <a:t>Description</a:t>
            </a:r>
            <a:r>
              <a:rPr lang="en-US" dirty="0">
                <a:solidFill>
                  <a:srgbClr val="393B3B"/>
                </a:solidFill>
              </a:rPr>
              <a:t>: </a:t>
            </a:r>
            <a:endParaRPr dirty="0"/>
          </a:p>
          <a:p>
            <a:pPr marL="645797" lvl="1" indent="-245746" algn="l" rtl="0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Clr>
                <a:srgbClr val="393B3B"/>
              </a:buClr>
              <a:buSzPts val="1300"/>
              <a:buChar char="▪"/>
            </a:pPr>
            <a:endParaRPr dirty="0"/>
          </a:p>
          <a:p>
            <a:pPr marL="400051" lvl="1" indent="0" algn="l" rtl="0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300"/>
              <a:buNone/>
            </a:pPr>
            <a:endParaRPr dirty="0"/>
          </a:p>
          <a:p>
            <a:pPr marL="400051" lvl="1" indent="0" algn="l" rtl="0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300"/>
              <a:buNone/>
            </a:pPr>
            <a:endParaRPr dirty="0"/>
          </a:p>
          <a:p>
            <a:pPr marL="645797" lvl="1" indent="-163196" algn="l" rtl="0">
              <a:lnSpc>
                <a:spcPct val="100000"/>
              </a:lnSpc>
              <a:spcBef>
                <a:spcPts val="260"/>
              </a:spcBef>
              <a:spcAft>
                <a:spcPts val="0"/>
              </a:spcAft>
              <a:buSzPts val="1300"/>
              <a:buNone/>
            </a:pPr>
            <a:endParaRPr dirty="0"/>
          </a:p>
          <a:p>
            <a:pPr marL="0" lvl="0" indent="0" algn="l" rtl="0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SzPts val="1300"/>
              <a:buNone/>
            </a:pPr>
            <a:endParaRPr dirty="0"/>
          </a:p>
          <a:p>
            <a:pPr marL="285750" lvl="0" indent="-203200" algn="l" rtl="0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SzPts val="1300"/>
              <a:buNone/>
            </a:pPr>
            <a:endParaRPr dirty="0"/>
          </a:p>
        </p:txBody>
      </p:sp>
      <p:sp>
        <p:nvSpPr>
          <p:cNvPr id="171" name="Google Shape;171;g31ff23c518a_0_128"/>
          <p:cNvSpPr txBox="1">
            <a:spLocks noGrp="1"/>
          </p:cNvSpPr>
          <p:nvPr>
            <p:ph type="body" idx="2"/>
          </p:nvPr>
        </p:nvSpPr>
        <p:spPr>
          <a:xfrm>
            <a:off x="1008000" y="814820"/>
            <a:ext cx="6286200" cy="44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</a:pPr>
            <a:r>
              <a:rPr lang="en-US" sz="3200" b="1" dirty="0"/>
              <a:t>SOLUTION</a:t>
            </a:r>
            <a:endParaRPr sz="3200" b="1" dirty="0"/>
          </a:p>
        </p:txBody>
      </p:sp>
      <p:sp>
        <p:nvSpPr>
          <p:cNvPr id="172" name="Google Shape;172;g31ff23c518a_0_128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"/>
              <a:buNone/>
            </a:pPr>
            <a:fld id="{00000000-1234-1234-1234-123412341234}" type="slidenum">
              <a:rPr lang="en-US">
                <a:latin typeface="Avenir"/>
                <a:ea typeface="Avenir"/>
                <a:cs typeface="Avenir"/>
                <a:sym typeface="Avenir"/>
              </a:rPr>
              <a:t>3</a:t>
            </a:fld>
            <a:endParaRPr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73" name="Google Shape;173;g31ff23c518a_0_128"/>
          <p:cNvSpPr txBox="1">
            <a:spLocks noGrp="1"/>
          </p:cNvSpPr>
          <p:nvPr>
            <p:ph type="title"/>
          </p:nvPr>
        </p:nvSpPr>
        <p:spPr>
          <a:xfrm>
            <a:off x="1006764" y="385641"/>
            <a:ext cx="5400000" cy="3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</a:pPr>
            <a:r>
              <a:rPr lang="en-US" dirty="0"/>
              <a:t>Team Number</a:t>
            </a:r>
            <a:endParaRPr dirty="0"/>
          </a:p>
        </p:txBody>
      </p:sp>
      <p:pic>
        <p:nvPicPr>
          <p:cNvPr id="180" name="Google Shape;180;g31ff23c518a_0_12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92763" y="1758405"/>
            <a:ext cx="379670" cy="48513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2313306-3AD6-800B-03CA-1349EB2CC2E8}"/>
              </a:ext>
            </a:extLst>
          </p:cNvPr>
          <p:cNvSpPr>
            <a:spLocks noGrp="1"/>
          </p:cNvSpPr>
          <p:nvPr>
            <p:ph type="pic" idx="3"/>
          </p:nvPr>
        </p:nvSpPr>
        <p:spPr/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Google Shape;169;g31ff23c518a_0_1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87" y="1587"/>
            <a:ext cx="1587" cy="1587"/>
          </a:xfrm>
          <a:prstGeom prst="rect">
            <a:avLst/>
          </a:prstGeom>
          <a:noFill/>
          <a:ln>
            <a:noFill/>
          </a:ln>
        </p:spPr>
      </p:pic>
      <p:sp>
        <p:nvSpPr>
          <p:cNvPr id="172" name="Google Shape;172;g31ff23c518a_0_128"/>
          <p:cNvSpPr txBox="1">
            <a:spLocks noGrp="1"/>
          </p:cNvSpPr>
          <p:nvPr>
            <p:ph type="sldNum" idx="12"/>
          </p:nvPr>
        </p:nvSpPr>
        <p:spPr>
          <a:xfrm>
            <a:off x="9813379" y="7010400"/>
            <a:ext cx="31338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"/>
              <a:buNone/>
            </a:pPr>
            <a:fld id="{00000000-1234-1234-1234-123412341234}" type="slidenum">
              <a:rPr lang="en-US">
                <a:latin typeface="Avenir"/>
                <a:ea typeface="Avenir"/>
                <a:cs typeface="Avenir"/>
                <a:sym typeface="Avenir"/>
              </a:rPr>
              <a:t>4</a:t>
            </a:fld>
            <a:endParaRPr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73" name="Google Shape;173;g31ff23c518a_0_128"/>
          <p:cNvSpPr txBox="1">
            <a:spLocks noGrp="1"/>
          </p:cNvSpPr>
          <p:nvPr>
            <p:ph type="title"/>
          </p:nvPr>
        </p:nvSpPr>
        <p:spPr>
          <a:xfrm>
            <a:off x="1006764" y="385641"/>
            <a:ext cx="5400000" cy="3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</a:pPr>
            <a:r>
              <a:rPr lang="en-US" dirty="0"/>
              <a:t>Team Number</a:t>
            </a:r>
            <a:endParaRPr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1265836-569A-1D37-F896-47225C9EFB9D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F0969322-D676-A540-464E-AC6EE01739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964AB12C-D998-507B-C575-BDBE0FA380E8}"/>
              </a:ext>
            </a:extLst>
          </p:cNvPr>
          <p:cNvSpPr>
            <a:spLocks noGrp="1"/>
          </p:cNvSpPr>
          <p:nvPr>
            <p:ph type="pic" idx="3"/>
          </p:nvPr>
        </p:nvSpPr>
        <p:spPr/>
      </p:sp>
    </p:spTree>
    <p:extLst>
      <p:ext uri="{BB962C8B-B14F-4D97-AF65-F5344CB8AC3E}">
        <p14:creationId xmlns:p14="http://schemas.microsoft.com/office/powerpoint/2010/main" val="36874865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" name="Google Shape;186;p3"/>
          <p:cNvGraphicFramePr/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86" name="Google Shape;186;p3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7" name="Google Shape;187;p3"/>
          <p:cNvSpPr txBox="1">
            <a:spLocks noGrp="1"/>
          </p:cNvSpPr>
          <p:nvPr>
            <p:ph type="title"/>
          </p:nvPr>
        </p:nvSpPr>
        <p:spPr>
          <a:xfrm>
            <a:off x="1680834" y="2666085"/>
            <a:ext cx="10452364" cy="9428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None/>
            </a:pPr>
            <a:r>
              <a:rPr lang="en-US" dirty="0"/>
              <a:t>TEAM NUMBER</a:t>
            </a:r>
            <a:endParaRPr dirty="0"/>
          </a:p>
        </p:txBody>
      </p:sp>
      <p:sp>
        <p:nvSpPr>
          <p:cNvPr id="188" name="Google Shape;188;p3"/>
          <p:cNvSpPr txBox="1">
            <a:spLocks noGrp="1"/>
          </p:cNvSpPr>
          <p:nvPr>
            <p:ph type="body" idx="1"/>
          </p:nvPr>
        </p:nvSpPr>
        <p:spPr>
          <a:xfrm>
            <a:off x="1680834" y="6598254"/>
            <a:ext cx="7044876" cy="6197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dirty="0"/>
              <a:t>Team members name</a:t>
            </a:r>
            <a:endParaRPr cap="none" dirty="0"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btMaster">
  <a:themeElements>
    <a:clrScheme name="Benutzerdefiniert 4">
      <a:dk1>
        <a:srgbClr val="154194"/>
      </a:dk1>
      <a:lt1>
        <a:srgbClr val="FFFFFF"/>
      </a:lt1>
      <a:dk2>
        <a:srgbClr val="BCCE00"/>
      </a:dk2>
      <a:lt2>
        <a:srgbClr val="B2B4B3"/>
      </a:lt2>
      <a:accent1>
        <a:srgbClr val="154194"/>
      </a:accent1>
      <a:accent2>
        <a:srgbClr val="BCCE00"/>
      </a:accent2>
      <a:accent3>
        <a:srgbClr val="727576"/>
      </a:accent3>
      <a:accent4>
        <a:srgbClr val="393B3B"/>
      </a:accent4>
      <a:accent5>
        <a:srgbClr val="FDFEFB"/>
      </a:accent5>
      <a:accent6>
        <a:srgbClr val="FDFEFB"/>
      </a:accent6>
      <a:hlink>
        <a:srgbClr val="676E6E"/>
      </a:hlink>
      <a:folHlink>
        <a:srgbClr val="00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Personalizado</PresentationFormat>
  <Slides>5</Slides>
  <Notes>5</Notes>
  <HiddenSlides>0</HiddenSlide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6" baseType="lpstr">
      <vt:lpstr>btMaster</vt:lpstr>
      <vt:lpstr>TEAM NUMBER</vt:lpstr>
      <vt:lpstr>Team Number</vt:lpstr>
      <vt:lpstr>Team Number</vt:lpstr>
      <vt:lpstr>Team Number</vt:lpstr>
      <vt:lpstr>TEAM NUMB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 NUMBER</dc:title>
  <dc:creator>mchchrmk</dc:creator>
  <cp:lastModifiedBy>Karla Mariana Resendiz Contreras</cp:lastModifiedBy>
  <cp:revision>1</cp:revision>
  <dcterms:modified xsi:type="dcterms:W3CDTF">2025-10-02T15:34:24Z</dcterms:modified>
</cp:coreProperties>
</file>